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9"/>
  </p:notesMasterIdLst>
  <p:sldIdLst>
    <p:sldId id="258" r:id="rId2"/>
    <p:sldId id="259" r:id="rId3"/>
    <p:sldId id="263" r:id="rId4"/>
    <p:sldId id="261" r:id="rId5"/>
    <p:sldId id="262" r:id="rId6"/>
    <p:sldId id="264" r:id="rId7"/>
    <p:sldId id="265" r:id="rId8"/>
  </p:sldIdLst>
  <p:sldSz cx="18288000" cy="10287000"/>
  <p:notesSz cx="6858000" cy="91440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Consolas" panose="020B0609020204030204" pitchFamily="49" charset="0"/>
      <p:regular r:id="rId14"/>
      <p:bold r:id="rId15"/>
      <p:italic r:id="rId16"/>
      <p:boldItalic r:id="rId17"/>
    </p:embeddedFont>
    <p:embeddedFont>
      <p:font typeface="Roboto Light" panose="02000000000000000000" pitchFamily="2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3E50"/>
    <a:srgbClr val="39AAC1"/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DAF70-7EA5-DB48-9B3A-37079EDC40EA}" v="5" dt="2023-09-13T12:30:16.4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81"/>
    <p:restoredTop sz="94684"/>
  </p:normalViewPr>
  <p:slideViewPr>
    <p:cSldViewPr snapToGrid="0">
      <p:cViewPr varScale="1">
        <p:scale>
          <a:sx n="71" d="100"/>
          <a:sy n="71" d="100"/>
        </p:scale>
        <p:origin x="66" y="234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12.fntdata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presProps" Target="pres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66" r:id="rId3"/>
    <p:sldLayoutId id="2147483662" r:id="rId4"/>
    <p:sldLayoutId id="2147483664" r:id="rId5"/>
    <p:sldLayoutId id="2147483650" r:id="rId6"/>
    <p:sldLayoutId id="2147483660" r:id="rId7"/>
    <p:sldLayoutId id="2147483657" r:id="rId8"/>
    <p:sldLayoutId id="2147483665" r:id="rId9"/>
    <p:sldLayoutId id="2147483658" r:id="rId10"/>
    <p:sldLayoutId id="2147483661" r:id="rId11"/>
    <p:sldLayoutId id="2147483653" r:id="rId12"/>
    <p:sldLayoutId id="2147483655" r:id="rId13"/>
    <p:sldLayoutId id="2147483659" r:id="rId14"/>
    <p:sldLayoutId id="2147483656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www.python.org/downloads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code.visualstudio.com/Download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hackinscience.org/exercises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lang="en-AU" dirty="0"/>
              <a:t>Welcome!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D610995-9410-4D02-811A-6E73BED84747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AU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lang="en-AU" dirty="0"/>
              <a:t>About Me!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About to graduate from the University of Queensland studying Computer Science (majoring in Machine Learning)</a:t>
            </a:r>
          </a:p>
          <a:p>
            <a:pPr lvl="1"/>
            <a:r>
              <a:rPr lang="en-AU" dirty="0"/>
              <a:t>For a long time I didn’t know what I wanted to do!</a:t>
            </a:r>
          </a:p>
          <a:p>
            <a:pPr lvl="1"/>
            <a:endParaRPr lang="en-AU" dirty="0"/>
          </a:p>
          <a:p>
            <a:r>
              <a:rPr lang="en-AU" dirty="0"/>
              <a:t>Never coded during school!</a:t>
            </a:r>
          </a:p>
          <a:p>
            <a:endParaRPr lang="en-AU" dirty="0"/>
          </a:p>
          <a:p>
            <a:r>
              <a:rPr lang="en-AU" dirty="0"/>
              <a:t>My dream is to create a company, or multiple!</a:t>
            </a:r>
          </a:p>
          <a:p>
            <a:endParaRPr lang="en-AU" dirty="0"/>
          </a:p>
          <a:p>
            <a:endParaRPr lang="en-AU" dirty="0"/>
          </a:p>
          <a:p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B45541-A10E-CF51-9D53-B0BA4D71BD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5126" y="3057085"/>
            <a:ext cx="8192395" cy="4172827"/>
          </a:xfrm>
          <a:prstGeom prst="rect">
            <a:avLst/>
          </a:prstGeom>
        </p:spPr>
      </p:pic>
      <p:pic>
        <p:nvPicPr>
          <p:cNvPr id="1026" name="Picture 2" descr="What is Wordle? The new viral word game delighting the internet | Games |  The Guardian">
            <a:extLst>
              <a:ext uri="{FF2B5EF4-FFF2-40B4-BE49-F238E27FC236}">
                <a16:creationId xmlns:a16="http://schemas.microsoft.com/office/drawing/2014/main" id="{91A93E2B-2F80-7966-12F1-CCD758394D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93" t="7730" r="14529" b="8366"/>
          <a:stretch/>
        </p:blipFill>
        <p:spPr bwMode="auto">
          <a:xfrm>
            <a:off x="753035" y="2605087"/>
            <a:ext cx="4262717" cy="4989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2048 - Challenging Number Puzzle Game • ABCya!">
            <a:extLst>
              <a:ext uri="{FF2B5EF4-FFF2-40B4-BE49-F238E27FC236}">
                <a16:creationId xmlns:a16="http://schemas.microsoft.com/office/drawing/2014/main" id="{98BEA5E4-2BB6-1611-CD88-C345A37E1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439" y="2605087"/>
            <a:ext cx="3810000" cy="507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7588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t>Installing Pyth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6200" indent="0">
              <a:buNone/>
            </a:pPr>
            <a:r>
              <a:rPr dirty="0"/>
              <a:t>Step 1: Download Python Installer</a:t>
            </a:r>
          </a:p>
          <a:p>
            <a:r>
              <a:rPr dirty="0"/>
              <a:t>Navigate to Python Downloads </a:t>
            </a:r>
            <a:r>
              <a:rPr dirty="0">
                <a:hlinkClick r:id="rId2"/>
              </a:rPr>
              <a:t>https://www.python.org/downloads/</a:t>
            </a:r>
            <a:r>
              <a:rPr lang="en-AU" dirty="0"/>
              <a:t> </a:t>
            </a:r>
          </a:p>
          <a:p>
            <a:pPr marL="76200" indent="0">
              <a:buNone/>
            </a:pPr>
            <a:endParaRPr lang="en-US" dirty="0"/>
          </a:p>
          <a:p>
            <a:pPr marL="76200" indent="0">
              <a:buNone/>
            </a:pPr>
            <a:r>
              <a:rPr lang="en-US" dirty="0"/>
              <a:t>Step 2: Run the Installer</a:t>
            </a:r>
          </a:p>
          <a:p>
            <a:r>
              <a:rPr dirty="0"/>
              <a:t>Double-click the downloaded file.</a:t>
            </a:r>
          </a:p>
          <a:p>
            <a:r>
              <a:rPr dirty="0"/>
              <a:t>Ensure “Add Python to PATH” is checked.</a:t>
            </a:r>
          </a:p>
          <a:p>
            <a:r>
              <a:rPr dirty="0"/>
              <a:t>Click "Install Now"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55A60C2-8E8E-079D-900C-E75CDE89D8F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8883B0-B128-FE7B-4A08-581B5FFEF6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2145" y="4568414"/>
            <a:ext cx="7641480" cy="3173372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dirty="0"/>
              <a:t>Installing VS Co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6200" indent="0">
              <a:buNone/>
            </a:pPr>
            <a:r>
              <a:rPr dirty="0"/>
              <a:t>Step 1: Download VS Code Installer</a:t>
            </a:r>
          </a:p>
          <a:p>
            <a:r>
              <a:rPr dirty="0"/>
              <a:t>Navigate to VS Code Downloads </a:t>
            </a:r>
            <a:r>
              <a:rPr dirty="0">
                <a:hlinkClick r:id="rId2"/>
              </a:rPr>
              <a:t>https://code.visualstudio.com/Download</a:t>
            </a:r>
            <a:r>
              <a:rPr lang="en-AU" dirty="0"/>
              <a:t> </a:t>
            </a:r>
          </a:p>
          <a:p>
            <a:endParaRPr dirty="0"/>
          </a:p>
          <a:p>
            <a:r>
              <a:rPr dirty="0"/>
              <a:t>Click the download button for your OS.</a:t>
            </a:r>
          </a:p>
          <a:p>
            <a:pPr marL="76200" indent="0">
              <a:buNone/>
            </a:pPr>
            <a:r>
              <a:rPr dirty="0"/>
              <a:t>Step 2: Run the Installer</a:t>
            </a:r>
          </a:p>
          <a:p>
            <a:r>
              <a:rPr dirty="0"/>
              <a:t>Follow the prompts in the setup wizard.</a:t>
            </a:r>
            <a:endParaRPr lang="en-AU" dirty="0"/>
          </a:p>
          <a:p>
            <a:endParaRPr dirty="0"/>
          </a:p>
          <a:p>
            <a:pPr marL="76200" indent="0">
              <a:buNone/>
            </a:pPr>
            <a:r>
              <a:rPr dirty="0"/>
              <a:t>Step 3: Verify Installation</a:t>
            </a:r>
          </a:p>
          <a:p>
            <a:r>
              <a:rPr dirty="0"/>
              <a:t>Open VS Code to ensure it installed correctly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AC62F0-809B-E6F0-4ECE-9587939EDCA0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DB6541-B514-7A83-D828-8259262034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4134" y="4370256"/>
            <a:ext cx="6316157" cy="3639709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0093EB-BE6D-D66D-882C-28EA1CFD4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>
                <a:solidFill>
                  <a:srgbClr val="8500EA"/>
                </a:solidFill>
              </a:rPr>
              <a:t>Let’s See If It Worked!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2F403C-15E2-D5AA-5EF4-BFE5AC8635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9074" y="2277035"/>
            <a:ext cx="13025526" cy="7324190"/>
          </a:xfrm>
        </p:spPr>
        <p:txBody>
          <a:bodyPr/>
          <a:lstStyle/>
          <a:p>
            <a:r>
              <a:rPr lang="en-AU" dirty="0"/>
              <a:t>Up the top click </a:t>
            </a:r>
            <a:r>
              <a:rPr lang="en-AU" b="1" dirty="0"/>
              <a:t>File</a:t>
            </a:r>
            <a:r>
              <a:rPr lang="en-AU" dirty="0"/>
              <a:t> and then click </a:t>
            </a:r>
            <a:r>
              <a:rPr lang="en-AU" b="1" dirty="0"/>
              <a:t>Open Folder</a:t>
            </a:r>
            <a:r>
              <a:rPr lang="en-AU" dirty="0"/>
              <a:t> </a:t>
            </a:r>
          </a:p>
          <a:p>
            <a:endParaRPr lang="en-AU" dirty="0"/>
          </a:p>
          <a:p>
            <a:r>
              <a:rPr lang="en-AU" dirty="0"/>
              <a:t>Create a new folder called </a:t>
            </a:r>
            <a:r>
              <a:rPr lang="en-AU" b="1" dirty="0"/>
              <a:t>Playtech</a:t>
            </a:r>
            <a:endParaRPr lang="en-AU" dirty="0"/>
          </a:p>
          <a:p>
            <a:endParaRPr lang="en-AU" dirty="0"/>
          </a:p>
          <a:p>
            <a:r>
              <a:rPr lang="en-AU" dirty="0"/>
              <a:t>Create a file in there called </a:t>
            </a:r>
            <a:r>
              <a:rPr lang="en-AU" b="1" dirty="0"/>
              <a:t>week1.py</a:t>
            </a:r>
          </a:p>
          <a:p>
            <a:endParaRPr lang="en-AU" dirty="0"/>
          </a:p>
          <a:p>
            <a:r>
              <a:rPr lang="en-AU" dirty="0"/>
              <a:t>Write: </a:t>
            </a:r>
            <a:r>
              <a:rPr lang="en-AU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</a:t>
            </a:r>
            <a:r>
              <a:rPr lang="en-AU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AU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Hello World!"</a:t>
            </a:r>
            <a:r>
              <a:rPr lang="en-AU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en-AU" dirty="0"/>
              <a:t>and then press </a:t>
            </a:r>
            <a:r>
              <a:rPr lang="en-AU" b="1" dirty="0"/>
              <a:t>ctrl + s </a:t>
            </a:r>
            <a:r>
              <a:rPr lang="en-AU" dirty="0"/>
              <a:t>to save</a:t>
            </a:r>
            <a:endParaRPr lang="en-AU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endParaRPr lang="en-AU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r>
              <a:rPr lang="en-AU" dirty="0"/>
              <a:t>Up the top click </a:t>
            </a:r>
            <a:r>
              <a:rPr lang="en-AU" b="1" dirty="0"/>
              <a:t>Terminal </a:t>
            </a:r>
            <a:r>
              <a:rPr lang="en-AU" dirty="0"/>
              <a:t>and then click </a:t>
            </a:r>
            <a:r>
              <a:rPr lang="en-AU" b="1" dirty="0"/>
              <a:t>New Terminal</a:t>
            </a:r>
          </a:p>
          <a:p>
            <a:endParaRPr lang="en-AU" b="1" dirty="0"/>
          </a:p>
          <a:p>
            <a:r>
              <a:rPr lang="en-AU" dirty="0"/>
              <a:t>Now type </a:t>
            </a:r>
            <a:r>
              <a:rPr lang="en-AU" b="1" dirty="0"/>
              <a:t>python week1.py</a:t>
            </a:r>
            <a:r>
              <a:rPr lang="en-AU" dirty="0"/>
              <a:t> to run the code!</a:t>
            </a:r>
          </a:p>
          <a:p>
            <a:endParaRPr lang="en-AU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AU" dirty="0">
              <a:solidFill>
                <a:srgbClr val="CCCCCC"/>
              </a:solidFill>
              <a:latin typeface="Consolas" panose="020B0609020204030204" pitchFamily="49" charset="0"/>
            </a:endParaRPr>
          </a:p>
          <a:p>
            <a:endParaRPr lang="en-AU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endParaRPr lang="en-AU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AD182F7-F304-58A2-84F0-151E459994B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53904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CD424-585E-4FA3-715B-6D074A05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>
                <a:solidFill>
                  <a:srgbClr val="8500EA"/>
                </a:solidFill>
              </a:rPr>
              <a:t>Exercises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12887F-860A-7D36-E525-786E3B95A7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6200" indent="0">
              <a:buNone/>
            </a:pPr>
            <a:r>
              <a:rPr lang="en-AU" dirty="0">
                <a:hlinkClick r:id="rId2"/>
              </a:rPr>
              <a:t>https://www.hackinscience.org/exercises/</a:t>
            </a:r>
            <a:r>
              <a:rPr lang="en-AU" dirty="0"/>
              <a:t> 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8013E4D-B210-A7DF-1546-E15E455E8D52}"/>
              </a:ext>
            </a:extLst>
          </p:cNvPr>
          <p:cNvSpPr>
            <a:spLocks noGrp="1"/>
          </p:cNvSpPr>
          <p:nvPr>
            <p:ph type="pic" idx="2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51117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8</TotalTime>
  <Words>237</Words>
  <Application>Microsoft Office PowerPoint</Application>
  <PresentationFormat>Custom</PresentationFormat>
  <Paragraphs>43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Calibri</vt:lpstr>
      <vt:lpstr>Arial</vt:lpstr>
      <vt:lpstr>Roboto Light</vt:lpstr>
      <vt:lpstr>Consolas</vt:lpstr>
      <vt:lpstr>Smart Slides v1</vt:lpstr>
      <vt:lpstr>think-cell Slide</vt:lpstr>
      <vt:lpstr>Welcome!</vt:lpstr>
      <vt:lpstr>About Me!</vt:lpstr>
      <vt:lpstr>PowerPoint Presentation</vt:lpstr>
      <vt:lpstr>Installing Python</vt:lpstr>
      <vt:lpstr>Installing VS Code</vt:lpstr>
      <vt:lpstr>Let’s See If It Worked!</vt:lpstr>
      <vt:lpstr>Exercis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Riley Ball</dc:creator>
  <cp:lastModifiedBy>Riley Ball</cp:lastModifiedBy>
  <cp:revision>32</cp:revision>
  <dcterms:modified xsi:type="dcterms:W3CDTF">2023-10-09T05:05:11Z</dcterms:modified>
</cp:coreProperties>
</file>